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80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723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24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7219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/>
              <a:t>CREO PARAMETRIC – MECHANISM DESIGN (KINEMATIC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21221" y="1188893"/>
            <a:ext cx="10728997" cy="34706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Model assemblies using true mechanism constraints to support and enable kinematic motion analysi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8CD7306-2C3F-42C4-8D1C-58C14CA98332}"/>
              </a:ext>
            </a:extLst>
          </p:cNvPr>
          <p:cNvGrpSpPr/>
          <p:nvPr/>
        </p:nvGrpSpPr>
        <p:grpSpPr>
          <a:xfrm>
            <a:off x="6096000" y="1534293"/>
            <a:ext cx="6041292" cy="5107391"/>
            <a:chOff x="6102962" y="1302554"/>
            <a:chExt cx="6041292" cy="5107391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BFAFB"/>
                </a:clrFrom>
                <a:clrTo>
                  <a:srgbClr val="FB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102962" y="2639314"/>
              <a:ext cx="2979869" cy="2486328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BFAFB"/>
                </a:clrFrom>
                <a:clrTo>
                  <a:srgbClr val="FB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38096" y="1302554"/>
              <a:ext cx="3047999" cy="2486328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BFAFB"/>
                </a:clrFrom>
                <a:clrTo>
                  <a:srgbClr val="FBFAFB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179817" y="3902748"/>
              <a:ext cx="2964437" cy="2507197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1FB42E3C-6433-40C2-A7AC-DCF5039188D8}"/>
              </a:ext>
            </a:extLst>
          </p:cNvPr>
          <p:cNvSpPr/>
          <p:nvPr/>
        </p:nvSpPr>
        <p:spPr>
          <a:xfrm>
            <a:off x="505459" y="2024833"/>
            <a:ext cx="1510147" cy="6789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E60A83-94AB-4878-AE10-1F55EC66ACF6}"/>
              </a:ext>
            </a:extLst>
          </p:cNvPr>
          <p:cNvSpPr/>
          <p:nvPr/>
        </p:nvSpPr>
        <p:spPr>
          <a:xfrm>
            <a:off x="2156313" y="2024833"/>
            <a:ext cx="5804359" cy="6789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Customers that need to visualize and understand mechanism behavior using real world constraints to validate mechanism design and range of motion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D047985-28E2-4EDD-AB6E-6D6376DF5DE9}"/>
              </a:ext>
            </a:extLst>
          </p:cNvPr>
          <p:cNvSpPr/>
          <p:nvPr/>
        </p:nvSpPr>
        <p:spPr>
          <a:xfrm>
            <a:off x="505459" y="2779753"/>
            <a:ext cx="1510147" cy="9694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EA3E2A-79ED-4DA7-8C3B-43EAA5048D8E}"/>
              </a:ext>
            </a:extLst>
          </p:cNvPr>
          <p:cNvSpPr/>
          <p:nvPr/>
        </p:nvSpPr>
        <p:spPr>
          <a:xfrm>
            <a:off x="2156315" y="2779753"/>
            <a:ext cx="3601922" cy="969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430229-9F8E-4CE9-94F4-CAA2EC954B0E}"/>
              </a:ext>
            </a:extLst>
          </p:cNvPr>
          <p:cNvSpPr/>
          <p:nvPr/>
        </p:nvSpPr>
        <p:spPr>
          <a:xfrm>
            <a:off x="505459" y="3830383"/>
            <a:ext cx="1510147" cy="6373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77D01F1-1279-4470-A61C-D1D30421DBBA}"/>
              </a:ext>
            </a:extLst>
          </p:cNvPr>
          <p:cNvSpPr/>
          <p:nvPr/>
        </p:nvSpPr>
        <p:spPr>
          <a:xfrm>
            <a:off x="2156314" y="3860863"/>
            <a:ext cx="3601923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echanism desig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Kinematic motion analys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088824-ADEC-4E12-BC48-42C5E719124C}"/>
              </a:ext>
            </a:extLst>
          </p:cNvPr>
          <p:cNvSpPr/>
          <p:nvPr/>
        </p:nvSpPr>
        <p:spPr>
          <a:xfrm>
            <a:off x="505459" y="4561305"/>
            <a:ext cx="1510147" cy="18025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E83092-B502-4381-A4A7-259B0FF8C0F1}"/>
              </a:ext>
            </a:extLst>
          </p:cNvPr>
          <p:cNvSpPr/>
          <p:nvPr/>
        </p:nvSpPr>
        <p:spPr>
          <a:xfrm>
            <a:off x="2156314" y="4581625"/>
            <a:ext cx="5804362" cy="18025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fine assemblies using true mechanical join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sign and troubleshoot complex assembly mechanism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erform kinematic analysis to validate and optimize mechanism behavior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ate motion envelopes to define “keep out zones” occupied by moving parts and componen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rag components to easily visualize and validate assembly mechanism design and range of mo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670E521-DCC9-4CC0-80C9-A2A15144B7A2}"/>
              </a:ext>
            </a:extLst>
          </p:cNvPr>
          <p:cNvCxnSpPr>
            <a:cxnSpLocks/>
          </p:cNvCxnSpPr>
          <p:nvPr/>
        </p:nvCxnSpPr>
        <p:spPr>
          <a:xfrm>
            <a:off x="2112591" y="2024833"/>
            <a:ext cx="0" cy="67893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21A215B-03AC-4645-8DCC-4795FE88742E}"/>
              </a:ext>
            </a:extLst>
          </p:cNvPr>
          <p:cNvCxnSpPr>
            <a:cxnSpLocks/>
          </p:cNvCxnSpPr>
          <p:nvPr/>
        </p:nvCxnSpPr>
        <p:spPr>
          <a:xfrm>
            <a:off x="2112591" y="2779752"/>
            <a:ext cx="0" cy="96949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F167DDC-32CE-4ACF-8005-FD2104B56181}"/>
              </a:ext>
            </a:extLst>
          </p:cNvPr>
          <p:cNvCxnSpPr>
            <a:cxnSpLocks/>
          </p:cNvCxnSpPr>
          <p:nvPr/>
        </p:nvCxnSpPr>
        <p:spPr>
          <a:xfrm>
            <a:off x="2112591" y="3830381"/>
            <a:ext cx="0" cy="6373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6FB66F-82FC-499B-92B5-E82BCA24BEA2}"/>
              </a:ext>
            </a:extLst>
          </p:cNvPr>
          <p:cNvCxnSpPr>
            <a:cxnSpLocks/>
          </p:cNvCxnSpPr>
          <p:nvPr/>
        </p:nvCxnSpPr>
        <p:spPr>
          <a:xfrm>
            <a:off x="2112591" y="4561305"/>
            <a:ext cx="0" cy="180257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795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23</Words>
  <Application>Microsoft Office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Arial</vt:lpstr>
      <vt:lpstr>Wingdings</vt:lpstr>
      <vt:lpstr>PTCRaleway Black</vt:lpstr>
      <vt:lpstr>PTC PowerPoint Template</vt:lpstr>
      <vt:lpstr>think-cell Slide</vt:lpstr>
      <vt:lpstr>CREO PARAMETRIC – MECHANISM DESIGN (KINEMATIC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07:2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